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57" r:id="rId2"/>
  </p:sldIdLst>
  <p:sldSz cx="12192000" cy="6858000"/>
  <p:notesSz cx="9928225" cy="6797675"/>
  <p:custDataLst>
    <p:tags r:id="rId4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F368994-3B9D-4A0B-B9EA-08672BE2FFC2}" v="951" dt="2021-11-24T18:10:45.48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6" d="100"/>
          <a:sy n="86" d="100"/>
        </p:scale>
        <p:origin x="562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Relationship Id="rId9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3313" cy="34129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5622594" y="0"/>
            <a:ext cx="4303313" cy="34129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45449A-420E-42FA-A162-A0D86A645F25}" type="datetimeFigureOut">
              <a:rPr lang="cs-CZ" smtClean="0"/>
              <a:t>24.11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2925763" y="849313"/>
            <a:ext cx="4076700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992360" y="3271667"/>
            <a:ext cx="7943507" cy="267602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6456378"/>
            <a:ext cx="4303313" cy="34129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5622594" y="6456378"/>
            <a:ext cx="4303313" cy="34129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917ACA6-BC36-40E1-9D8E-DCA5023EF67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006833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5BF5AB6-97AD-45CA-B7E6-358C65BC94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7CD2251-B762-4842-BD38-3435F8541B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7BC0246D-92D4-48BB-923A-F6C65AFDAE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253C63-9529-445A-A583-0950A9FA981D}" type="datetimeFigureOut">
              <a:rPr lang="cs-CZ" smtClean="0"/>
              <a:t>24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7E94ECE-669B-4423-93AD-42FB8C9946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8FA8706-750B-4DE6-8679-8C0D0E66C0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60919D-5D61-4BB1-81AA-AB4FAEE6E3E6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919570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C21FB01-8BDF-4743-BABD-36DAEB894F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29742FDF-3A09-4C58-B69B-2AF479CCAA2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0F07CD9-FD0A-4EC2-A68B-5C1134057F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253C63-9529-445A-A583-0950A9FA981D}" type="datetimeFigureOut">
              <a:rPr lang="cs-CZ" smtClean="0"/>
              <a:t>24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EA731C0-1B8F-41CE-94D4-56F7B026C0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68926B9E-E225-4351-83D7-40E0F1D453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60919D-5D61-4BB1-81AA-AB4FAEE6E3E6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63524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F22FFCB3-7497-44CF-8C03-D38F9AAB90C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E3B73F6-FB1E-4A9D-B463-E93C48A738C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5D24A9DD-5D5A-4BC9-AEB0-5A30C40673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253C63-9529-445A-A583-0950A9FA981D}" type="datetimeFigureOut">
              <a:rPr lang="cs-CZ" smtClean="0"/>
              <a:t>24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12047BA-0ABA-4674-A6BA-FCC6CE2FF1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7229A31-31B2-4142-9E29-3AE0571178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60919D-5D61-4BB1-81AA-AB4FAEE6E3E6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433697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CD607D9-C822-406B-8967-47B32B8B3F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A71D3E5D-B0BB-4473-A46C-C8BF559048A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F5CEFC8-6379-472C-A9FE-DAC35A2BCB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253C63-9529-445A-A583-0950A9FA981D}" type="datetimeFigureOut">
              <a:rPr lang="cs-CZ" smtClean="0"/>
              <a:t>24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C3D8509-9171-43FB-B9DA-38486F8C60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BAAB83B-07F7-4DF4-87D6-D398125D5E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60919D-5D61-4BB1-81AA-AB4FAEE6E3E6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782214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3071648-BB51-4133-90FC-2E86732ECB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FFC0C654-8DEA-41F4-9FDB-F57E252454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5936480C-8A93-46A6-AE1D-0DF41A7551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253C63-9529-445A-A583-0950A9FA981D}" type="datetimeFigureOut">
              <a:rPr lang="cs-CZ" smtClean="0"/>
              <a:t>24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7154E633-1A62-48DB-8CEE-100363B48F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6C5C780E-2DF7-45AC-A84A-A58724F14F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60919D-5D61-4BB1-81AA-AB4FAEE6E3E6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119301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08E168D-5661-4A82-AB7B-2BD2C30D4A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1A30815-1917-4A21-B2FA-10B89EBB2DF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4A711525-837B-4298-9BA8-86910DBC44B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BE801511-CC90-46BE-B612-E9157634F3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253C63-9529-445A-A583-0950A9FA981D}" type="datetimeFigureOut">
              <a:rPr lang="cs-CZ" smtClean="0"/>
              <a:t>24.11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65E5770B-EA39-4823-B48D-5891A3176D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DFD6354-9F21-466A-ACF6-7B309AFBEE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60919D-5D61-4BB1-81AA-AB4FAEE6E3E6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076763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13CBDBF-C73C-4F0E-86EC-1CDBDC6E2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9097620-A1A6-41E4-8F68-A401529A6C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361305E9-CFB9-483B-8CF0-1BD85DE497E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8C534D29-27A0-4AEA-80F0-BCDEB67428D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D131BEAB-C2DF-4291-8FA7-80945F4D624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A503922E-71AE-4556-A574-F9F2CC64CB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253C63-9529-445A-A583-0950A9FA981D}" type="datetimeFigureOut">
              <a:rPr lang="cs-CZ" smtClean="0"/>
              <a:t>24.11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644308AD-0519-4FCA-AF75-86FC72138E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BA80C7EB-53FF-4B69-ACC8-E41F56C0D6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60919D-5D61-4BB1-81AA-AB4FAEE6E3E6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318457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4702210-86FF-4D1F-B132-C21A359C57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0C65861B-D16E-4187-BD46-D7BD62EE76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253C63-9529-445A-A583-0950A9FA981D}" type="datetimeFigureOut">
              <a:rPr lang="cs-CZ" smtClean="0"/>
              <a:t>24.11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70EAA9AD-0DA8-471F-A8B6-8EBB6AE33D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B8590C14-FC79-4FC0-B84E-146FDC007D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60919D-5D61-4BB1-81AA-AB4FAEE6E3E6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262234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E45A2FE0-E670-4966-A49B-FF7D8F4C7F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253C63-9529-445A-A583-0950A9FA981D}" type="datetimeFigureOut">
              <a:rPr lang="cs-CZ" smtClean="0"/>
              <a:t>24.11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BA5731E5-2B62-41E8-A7B5-4E2EA7E76B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20B6A965-0887-4802-BAE8-EC01389B1B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60919D-5D61-4BB1-81AA-AB4FAEE6E3E6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666507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3997F60-29F3-4AEE-849E-F8F25E6BE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06C796F4-CC6B-4E9F-AD5D-6BF346A548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C08CB815-52A2-4B7D-B282-FF5116D1D7A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F35E6C89-AD05-4C19-8700-62721A4199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253C63-9529-445A-A583-0950A9FA981D}" type="datetimeFigureOut">
              <a:rPr lang="cs-CZ" smtClean="0"/>
              <a:t>24.11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4538CA7C-FCC5-4453-B749-C78E7757CC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1083EB9C-0BFD-4027-91B9-8EA4D9B466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60919D-5D61-4BB1-81AA-AB4FAEE6E3E6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13769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D056F40-239E-4410-9A0D-747358505D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3BA8F854-035B-4D25-83A8-DEA2C70A0B7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F65B0DFC-F219-458A-BBED-A1216B503B7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7E496FC1-BD9D-42F9-A20E-57E3BE1312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253C63-9529-445A-A583-0950A9FA981D}" type="datetimeFigureOut">
              <a:rPr lang="cs-CZ" smtClean="0"/>
              <a:t>24.11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D82E7DB8-D1C5-4E2C-BB9A-0154AD6720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ACD2823D-BF35-49AA-96AD-7AD24FBC37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60919D-5D61-4BB1-81AA-AB4FAEE6E3E6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49817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1670F4E2-1CC2-4E87-9163-11C5C1FA68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86857894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5" imgW="499" imgH="499" progId="TCLayout.ActiveDocument.1">
                  <p:embed/>
                </p:oleObj>
              </mc:Choice>
              <mc:Fallback>
                <p:oleObj name="think-cell Slide" r:id="rId15" imgW="499" imgH="499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1670F4E2-1CC2-4E87-9163-11C5C1FA68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AFAE3A17-32A8-4085-AFC7-E4C444424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E6624C98-62F8-4CFC-B393-36F8DA751C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0292FCCB-D4D8-41FA-B276-78F40525DEB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4253C63-9529-445A-A583-0950A9FA981D}" type="datetimeFigureOut">
              <a:rPr lang="cs-CZ" smtClean="0"/>
              <a:t>24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75474196-44A8-4100-9E92-6D72AA53E5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6A3D776-8C90-4B6D-B733-587F396F76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60919D-5D61-4BB1-81AA-AB4FAEE6E3E6}" type="slidenum">
              <a:rPr lang="cs-CZ" smtClean="0"/>
              <a:t>‹#›</a:t>
            </a:fld>
            <a:endParaRPr lang="cs-CZ"/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679AC84F-85A3-4B57-B3D2-71475D573C5B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374439" y="1"/>
            <a:ext cx="661987" cy="153888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r"/>
            <a:r>
              <a:rPr lang="cs-CZ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EI: Internal</a:t>
            </a:r>
          </a:p>
        </p:txBody>
      </p:sp>
    </p:spTree>
    <p:extLst>
      <p:ext uri="{BB962C8B-B14F-4D97-AF65-F5344CB8AC3E}">
        <p14:creationId xmlns:p14="http://schemas.microsoft.com/office/powerpoint/2010/main" val="25792460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AD323F6-D2A6-408A-AB8B-822B110B40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57005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499" imgH="499" progId="TCLayout.ActiveDocument.1">
                  <p:embed/>
                </p:oleObj>
              </mc:Choice>
              <mc:Fallback>
                <p:oleObj name="think-cell Slide" r:id="rId4" imgW="499" imgH="499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AD323F6-D2A6-408A-AB8B-822B110B40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Obrázek 14">
            <a:extLst>
              <a:ext uri="{FF2B5EF4-FFF2-40B4-BE49-F238E27FC236}">
                <a16:creationId xmlns:a16="http://schemas.microsoft.com/office/drawing/2014/main" id="{7391090E-D36F-4C21-9DFC-DB57F07836A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5" name="Nadpis 4">
            <a:extLst>
              <a:ext uri="{FF2B5EF4-FFF2-40B4-BE49-F238E27FC236}">
                <a16:creationId xmlns:a16="http://schemas.microsoft.com/office/drawing/2014/main" id="{8DE1A369-BF71-4D43-B298-19974F4F94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696" y="133164"/>
            <a:ext cx="11952303" cy="7563775"/>
          </a:xfrm>
        </p:spPr>
        <p:txBody>
          <a:bodyPr vert="horz">
            <a:normAutofit fontScale="90000"/>
          </a:bodyPr>
          <a:lstStyle/>
          <a:p>
            <a:r>
              <a:rPr lang="cs-CZ" sz="3100" b="1" dirty="0">
                <a:solidFill>
                  <a:srgbClr val="C00000"/>
                </a:solidFill>
              </a:rPr>
              <a:t>Srdečně zveme všechny malé i velké do Podbrd k obecnímu úřadu na společné</a:t>
            </a:r>
            <a:br>
              <a:rPr lang="cs-CZ" sz="3100" b="1" dirty="0">
                <a:solidFill>
                  <a:srgbClr val="C00000"/>
                </a:solidFill>
              </a:rPr>
            </a:br>
            <a:br>
              <a:rPr lang="cs-CZ" sz="3100" b="1" dirty="0">
                <a:solidFill>
                  <a:srgbClr val="C00000"/>
                </a:solidFill>
              </a:rPr>
            </a:br>
            <a:r>
              <a:rPr lang="cs-CZ" sz="67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ZAHÁJENÍ ADVENTU</a:t>
            </a:r>
            <a:br>
              <a:rPr lang="cs-CZ" sz="60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</a:br>
            <a:r>
              <a:rPr lang="cs-CZ" sz="60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sobota 27. 11. 2021 </a:t>
            </a:r>
            <a:br>
              <a:rPr lang="cs-CZ" sz="60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</a:br>
            <a:r>
              <a:rPr lang="cs-CZ" sz="4000" b="1" dirty="0">
                <a:solidFill>
                  <a:srgbClr val="C00000"/>
                </a:solidFill>
                <a:latin typeface="+mn-lt"/>
              </a:rPr>
              <a:t>17,30 hod. zahájení na návsi</a:t>
            </a:r>
            <a:br>
              <a:rPr lang="cs-CZ" sz="4000" b="1" dirty="0">
                <a:solidFill>
                  <a:srgbClr val="C00000"/>
                </a:solidFill>
                <a:latin typeface="+mn-lt"/>
              </a:rPr>
            </a:br>
            <a:r>
              <a:rPr lang="cs-CZ" sz="4000" b="1" dirty="0">
                <a:solidFill>
                  <a:srgbClr val="C00000"/>
                </a:solidFill>
                <a:latin typeface="+mn-lt"/>
              </a:rPr>
              <a:t>18,00 hod. vánoční jarmark pod pergolou</a:t>
            </a:r>
            <a:br>
              <a:rPr lang="cs-CZ" dirty="0">
                <a:solidFill>
                  <a:srgbClr val="C00000"/>
                </a:solidFill>
                <a:latin typeface="+mn-lt"/>
              </a:rPr>
            </a:br>
            <a:br>
              <a:rPr lang="cs-CZ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</a:br>
            <a:br>
              <a:rPr lang="cs-CZ" sz="6000" b="1" dirty="0">
                <a:solidFill>
                  <a:srgbClr val="C00000"/>
                </a:solidFill>
              </a:rPr>
            </a:br>
            <a:br>
              <a:rPr lang="cs-CZ" sz="6000" b="1" dirty="0">
                <a:solidFill>
                  <a:srgbClr val="C00000"/>
                </a:solidFill>
              </a:rPr>
            </a:br>
            <a:br>
              <a:rPr lang="cs-CZ" sz="4400" dirty="0"/>
            </a:b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8860056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10</TotalTime>
  <Words>44</Words>
  <Application>Microsoft Office PowerPoint</Application>
  <PresentationFormat>Širokoúhlá obrazovka</PresentationFormat>
  <Paragraphs>1</Paragraphs>
  <Slides>1</Slides>
  <Notes>0</Notes>
  <HiddenSlides>0</HiddenSlides>
  <MMClips>0</MMClips>
  <ScaleCrop>false</ScaleCrop>
  <HeadingPairs>
    <vt:vector size="8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Motiv Office</vt:lpstr>
      <vt:lpstr>think-cell Slide</vt:lpstr>
      <vt:lpstr>Srdečně zveme všechny malé i velké do Podbrd k obecnímu úřadu na společné  ZAHÁJENÍ ADVENTU sobota 27. 11. 2021  17,30 hod. zahájení na návsi 18,00 hod. vánoční jarmark pod pergolou   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rdečně zveme všechny malé i velké do Podbrd na společné      Zahájení Adventu</dc:title>
  <dc:creator>Naděžda Eliášková</dc:creator>
  <cp:lastModifiedBy>Naděžda Eliášková</cp:lastModifiedBy>
  <cp:revision>6</cp:revision>
  <cp:lastPrinted>2021-11-19T15:00:34Z</cp:lastPrinted>
  <dcterms:created xsi:type="dcterms:W3CDTF">2021-11-19T13:35:14Z</dcterms:created>
  <dcterms:modified xsi:type="dcterms:W3CDTF">2021-11-24T18:11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b902d893-e969-45ad-97c1-6b351819e922_Enabled">
    <vt:lpwstr>true</vt:lpwstr>
  </property>
  <property fmtid="{D5CDD505-2E9C-101B-9397-08002B2CF9AE}" pid="3" name="MSIP_Label_b902d893-e969-45ad-97c1-6b351819e922_SetDate">
    <vt:lpwstr>2021-11-19T13:35:14Z</vt:lpwstr>
  </property>
  <property fmtid="{D5CDD505-2E9C-101B-9397-08002B2CF9AE}" pid="4" name="MSIP_Label_b902d893-e969-45ad-97c1-6b351819e922_Method">
    <vt:lpwstr>Standard</vt:lpwstr>
  </property>
  <property fmtid="{D5CDD505-2E9C-101B-9397-08002B2CF9AE}" pid="5" name="MSIP_Label_b902d893-e969-45ad-97c1-6b351819e922_Name">
    <vt:lpwstr>L002S002</vt:lpwstr>
  </property>
  <property fmtid="{D5CDD505-2E9C-101B-9397-08002B2CF9AE}" pid="6" name="MSIP_Label_b902d893-e969-45ad-97c1-6b351819e922_SiteId">
    <vt:lpwstr>7ef011f8-898a-4d01-8232-9087b2c2abaf</vt:lpwstr>
  </property>
  <property fmtid="{D5CDD505-2E9C-101B-9397-08002B2CF9AE}" pid="7" name="MSIP_Label_b902d893-e969-45ad-97c1-6b351819e922_ActionId">
    <vt:lpwstr>19d7f281-daa9-4fcd-97ea-70ec9354961e</vt:lpwstr>
  </property>
  <property fmtid="{D5CDD505-2E9C-101B-9397-08002B2CF9AE}" pid="8" name="MSIP_Label_b902d893-e969-45ad-97c1-6b351819e922_ContentBits">
    <vt:lpwstr>1</vt:lpwstr>
  </property>
  <property fmtid="{D5CDD505-2E9C-101B-9397-08002B2CF9AE}" pid="9" name="ClassificationContentMarkingHeaderLocations">
    <vt:lpwstr>Motiv Office:8</vt:lpwstr>
  </property>
  <property fmtid="{D5CDD505-2E9C-101B-9397-08002B2CF9AE}" pid="10" name="ClassificationContentMarkingHeaderText">
    <vt:lpwstr>AEI: Internal</vt:lpwstr>
  </property>
</Properties>
</file>